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0"/>
  </p:notesMasterIdLst>
  <p:handoutMasterIdLst>
    <p:handoutMasterId r:id="rId11"/>
  </p:handoutMasterIdLst>
  <p:sldIdLst>
    <p:sldId id="353" r:id="rId2"/>
    <p:sldId id="344" r:id="rId3"/>
    <p:sldId id="345" r:id="rId4"/>
    <p:sldId id="346" r:id="rId5"/>
    <p:sldId id="347" r:id="rId6"/>
    <p:sldId id="348" r:id="rId7"/>
    <p:sldId id="349" r:id="rId8"/>
    <p:sldId id="350" r:id="rId9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53"/>
            <p14:sldId id="344"/>
            <p14:sldId id="345"/>
            <p14:sldId id="346"/>
            <p14:sldId id="347"/>
            <p14:sldId id="348"/>
            <p14:sldId id="349"/>
            <p14:sldId id="35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02" autoAdjust="0"/>
    <p:restoredTop sz="86627" autoAdjust="0"/>
  </p:normalViewPr>
  <p:slideViewPr>
    <p:cSldViewPr snapToObjects="1" showGuides="1">
      <p:cViewPr>
        <p:scale>
          <a:sx n="100" d="100"/>
          <a:sy n="100" d="100"/>
        </p:scale>
        <p:origin x="-845" y="-110"/>
      </p:cViewPr>
      <p:guideLst>
        <p:guide orient="horz" pos="2160"/>
        <p:guide orient="horz" pos="3339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536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638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84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AD239DC-F200-44B0-A1A4-387E55500C6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BFC2700-31C2-4071-A777-3C3203CDFB8C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342CF69-E14E-42C1-A306-7BD5AA73DB30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728BFFC-74FE-4238-B9C5-4A02F981A6D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9296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34385" y="1715221"/>
            <a:ext cx="3588466" cy="42426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6551" y="1715221"/>
            <a:ext cx="3588466" cy="42426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3378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379A993-5404-46A8-BDF8-7AECA307288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A0136BC-85F5-4FE7-BEE9-954DDAED8F1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E069309-80CA-452D-900F-246B360648A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AAA8D3C-676A-492C-A1C6-32F38F78A88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89CA8B9-7E75-48AA-B193-5BB864C314D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Power Point Master Faktor Zehn 2012</a:t>
            </a:r>
            <a:endParaRPr lang="de-DE" noProof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2C45143-F986-49B3-9B64-3343C7D303B6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E0833A-8CF5-492D-A724-0DE231A7BCD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DDD3D8C-CEA7-49A7-810E-0133CA4B285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 – A ConVista Company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C949D3-FBD8-487D-A2D0-3617FF02C73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  <p:sldLayoutId id="2147483707" r:id="rId16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6972717"/>
              </p:ext>
            </p:extLst>
          </p:nvPr>
        </p:nvGraphicFramePr>
        <p:xfrm>
          <a:off x="268753" y="1484784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3.1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5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8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9</a:t>
                      </a:r>
                      <a:r>
                        <a:rPr lang="de-DE" sz="1200" b="1" baseline="0" dirty="0" smtClean="0"/>
                        <a:t> </a:t>
                      </a:r>
                      <a:r>
                        <a:rPr lang="de-DE" sz="1200" b="1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0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1 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1C4EEFA-00DE-4D98-A892-E99804FA6EA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924254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Was kann plausibilisiert werden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8310377"/>
              </p:ext>
            </p:extLst>
          </p:nvPr>
        </p:nvGraphicFramePr>
        <p:xfrm>
          <a:off x="1524000" y="1772816"/>
          <a:ext cx="6096000" cy="30835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ertemeng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truktur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de-DE" sz="1600" dirty="0" smtClean="0"/>
                        <a:t>Bereich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  - </a:t>
                      </a:r>
                      <a:r>
                        <a:rPr lang="de-DE" sz="1600" baseline="0" dirty="0" smtClean="0"/>
                        <a:t>Versicherungssumme: 0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     Euro – 1Mio Euro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st die </a:t>
                      </a:r>
                      <a:r>
                        <a:rPr lang="de-DE" sz="1600" dirty="0" err="1" smtClean="0"/>
                        <a:t>Kobination</a:t>
                      </a:r>
                      <a:r>
                        <a:rPr lang="de-DE" sz="1600" dirty="0" smtClean="0"/>
                        <a:t> der im Vertragsenthaltenen</a:t>
                      </a:r>
                      <a:r>
                        <a:rPr lang="de-DE" sz="1600" baseline="0" dirty="0" smtClean="0"/>
                        <a:t> Deckungen erlaubt?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de-DE" sz="1600" dirty="0" smtClean="0"/>
                        <a:t>Aufzählung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  - </a:t>
                      </a:r>
                      <a:r>
                        <a:rPr lang="de-DE" sz="1600" baseline="0" dirty="0" smtClean="0"/>
                        <a:t>Selbstbehalt: 0, 150, 300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    Euro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Darf</a:t>
                      </a:r>
                      <a:r>
                        <a:rPr lang="de-DE" sz="1600" baseline="0" dirty="0" smtClean="0"/>
                        <a:t> die Deckung Invalidität bei einem Alter größer 60 abgeschlossen werden?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de-DE" sz="1600" dirty="0" smtClean="0"/>
                        <a:t>Andere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  - </a:t>
                      </a:r>
                      <a:r>
                        <a:rPr lang="de-DE" sz="1600" baseline="0" dirty="0" smtClean="0"/>
                        <a:t>z. B. alle Strings, die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    einem regulären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    Ausdruck genü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31C1991-AB75-4A29-BEF6-B7683CA4A06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015274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spekte einer Plausibilisierung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229362"/>
              </p:ext>
            </p:extLst>
          </p:nvPr>
        </p:nvGraphicFramePr>
        <p:xfrm>
          <a:off x="1514872" y="1664804"/>
          <a:ext cx="6096000" cy="3662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uskun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üfun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Welche Selbstbehalte sind möglich?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st der im Vertrag vereinbarte Selbstbehalt in der Menge der erlaubten SB enthalten?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In welchem Bereich muss die Versicherungssumme liegen?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Liegt die im Vertrag vereinbarte Versicherungssumme im erlaubten Bereich?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Kann eine bestimmte Deckung zu einem Vertrag hinzugefügt werd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Ist die Kombination der im Vertrag enthaltenen Deckungen erlaubt?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solidFill>
                            <a:schemeClr val="tx1"/>
                          </a:solidFill>
                        </a:rPr>
                        <a:t>Wieviel</a:t>
                      </a: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 Monate darf der Versicherungsbeginn in der Zukunft lieg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Liegt Versicherungsbeginn des Vertrags im erlaubten Bereich?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023CB1-EE77-4325-821A-8FFD781F60D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31462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Prüfungen in Faktor-IPS</a:t>
            </a: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412776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llgem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bildet Prüfungen über Regeln ab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e Regel hat einen Namen, eine Nachricht, ein Fehlercode und ein Schweregrad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Logik einer Regel ist im Java Code zu implementier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Regeln sind immer einer Vertragsklasse zugeordne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sregeln können vollständig generiert werden</a:t>
            </a:r>
          </a:p>
          <a:p>
            <a:pPr marL="423948" indent="-34290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Produktkonfiguration von Regel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 Regeln können Produktattribute ausgewerte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sregeln können über die Angabe einer Wertemenge </a:t>
            </a:r>
            <a:br>
              <a:rPr lang="de-DE" dirty="0"/>
            </a:br>
            <a:r>
              <a:rPr lang="de-DE" dirty="0"/>
              <a:t>im Produktbaustein konfigurier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Regeln können produktseitig aus- und eingeschalte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ormel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6B5CC4D-1EAD-4EBB-B9CE-C7B63553014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241119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ktor-IPS Generat von Regel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448780"/>
            <a:ext cx="7280275" cy="4246563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für eine Regel eine Methode mit dem Namen der Regel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generierte Methode enthält die Parameter vom Typ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/>
              <a:t> und </a:t>
            </a:r>
            <a:r>
              <a:rPr lang="de-DE" dirty="0" err="1">
                <a:latin typeface="Courier New" pitchFamily="49" charset="0"/>
              </a:rPr>
              <a:t>IValidationContext</a:t>
            </a:r>
            <a:endParaRPr lang="de-DE" dirty="0">
              <a:latin typeface="Courier New" pitchFamily="49" charset="0"/>
            </a:endParaRP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 die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/>
              <a:t> wird die Fehlermeldung der Regel eingetrag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er 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/>
              <a:t> kann in Form von </a:t>
            </a:r>
            <a:r>
              <a:rPr lang="de-DE" dirty="0" err="1"/>
              <a:t>key</a:t>
            </a:r>
            <a:r>
              <a:rPr lang="de-DE" dirty="0"/>
              <a:t>/</a:t>
            </a:r>
            <a:r>
              <a:rPr lang="de-DE" dirty="0" err="1"/>
              <a:t>value</a:t>
            </a:r>
            <a:r>
              <a:rPr lang="de-DE" dirty="0"/>
              <a:t> Paaren </a:t>
            </a:r>
            <a:br>
              <a:rPr lang="de-DE" dirty="0"/>
            </a:br>
            <a:r>
              <a:rPr lang="de-DE" dirty="0"/>
              <a:t>Informationen enthalten, die in der Regel ausgewertet werden können. </a:t>
            </a:r>
            <a:br>
              <a:rPr lang="de-DE" dirty="0"/>
            </a:br>
            <a:r>
              <a:rPr lang="de-DE" dirty="0"/>
              <a:t>Z.B. Benutzer, Geschäftsprozess,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AA02CB6-584A-44EF-B93A-8EA7BAE31B7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537993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ktor-IPS Regel Framework</a:t>
            </a:r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4307" y="1412776"/>
            <a:ext cx="8637213" cy="4608512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Faktor-IPS Laufzeit Bibliothek enthält Basisklassen in denen ein Regelframework implementiert ist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Jede Vertragsteilklasse implementiert das </a:t>
            </a:r>
            <a:r>
              <a:rPr lang="de-DE" dirty="0" err="1">
                <a:latin typeface="Courier New" pitchFamily="49" charset="0"/>
              </a:rPr>
              <a:t>IModelObject</a:t>
            </a:r>
            <a:r>
              <a:rPr lang="de-DE" dirty="0"/>
              <a:t> </a:t>
            </a:r>
            <a:r>
              <a:rPr lang="de-DE" dirty="0" err="1"/>
              <a:t>Inferface</a:t>
            </a:r>
            <a:r>
              <a:rPr lang="de-DE" dirty="0"/>
              <a:t> und hat somit eine Methode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Standard Implementierung von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ruft zuerst die Methode </a:t>
            </a:r>
            <a:r>
              <a:rPr lang="de-DE" dirty="0" err="1">
                <a:latin typeface="Courier New" pitchFamily="49" charset="0"/>
              </a:rPr>
              <a:t>validateSelf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,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und danach </a:t>
            </a:r>
            <a:r>
              <a:rPr lang="de-DE" dirty="0" err="1">
                <a:latin typeface="Courier New" pitchFamily="49" charset="0"/>
              </a:rPr>
              <a:t>validateDependents</a:t>
            </a:r>
            <a:r>
              <a:rPr lang="de-DE" dirty="0"/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,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auf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in die </a:t>
            </a:r>
            <a:r>
              <a:rPr lang="de-DE" dirty="0" err="1">
                <a:latin typeface="Courier New" pitchFamily="49" charset="0"/>
              </a:rPr>
              <a:t>validateSelf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 die Aufrufe der im Modell definierten Regel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err="1"/>
              <a:t>valildateDependents</a:t>
            </a:r>
            <a:r>
              <a:rPr lang="de-DE" dirty="0"/>
              <a:t>  ruft die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n der Kinder einer Vertragsteilklasse auf, die mit dieser in einer Komposite Beziehung steh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omit kann durch den Aufruf der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 am Root die Prüfung einer gesamten Komposite Struktur z.B. eines Vertrages mit all seinen Teilen erfolgen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DB26062-939E-4A7B-B133-83856EAF4BD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6057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uskunftsfunktionen in Faktor-IPS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4121" y="1412776"/>
            <a:ext cx="7280275" cy="4244975"/>
          </a:xfrm>
          <a:ln/>
        </p:spPr>
        <p:txBody>
          <a:bodyPr/>
          <a:lstStyle/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llgem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Auskunftsmethoden für Modellklassenattribute bei denen eine </a:t>
            </a:r>
            <a:r>
              <a:rPr lang="de-DE" dirty="0" err="1"/>
              <a:t>Wertemengeeinschränkung</a:t>
            </a:r>
            <a:r>
              <a:rPr lang="de-DE" dirty="0"/>
              <a:t> angegeben is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einen Wertebereich wird eine Methode </a:t>
            </a:r>
            <a:r>
              <a:rPr lang="de-DE" dirty="0" err="1">
                <a:latin typeface="Courier New" pitchFamily="49" charset="0"/>
              </a:rPr>
              <a:t>getRangeFor</a:t>
            </a:r>
            <a:r>
              <a:rPr lang="de-DE" dirty="0">
                <a:latin typeface="Courier New" pitchFamily="49" charset="0"/>
              </a:rPr>
              <a:t>&lt;Attributname&gt;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generier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eine Menge von diskreten Werten (Aufzählungstyp, einzelne Werte eines Typs) wird eine Methode </a:t>
            </a:r>
            <a:r>
              <a:rPr lang="de-DE" dirty="0" err="1">
                <a:latin typeface="Courier New" pitchFamily="49" charset="0"/>
              </a:rPr>
              <a:t>getAllowedValuesFor</a:t>
            </a:r>
            <a:r>
              <a:rPr lang="de-DE" dirty="0">
                <a:latin typeface="Courier New" pitchFamily="49" charset="0"/>
              </a:rPr>
              <a:t>&lt;Attributname&gt;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generier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verwendet die Auskunftsmethoden für die Generierung der Bedingung der Prüfung eines Vertragsteilattributs. (und kann somit diese Art von Prüfungen vollständig generieren)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Produktkonfiguration von Auskunftsmetho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e und Wertemengen von Attribute können in Produktbausteinen angegeben werd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9174D4-1246-4AF5-BADF-2C8343C30ECD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042473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Übung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8345FE7-FA05-4346-8293-8082ED6AE4D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820708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17</Words>
  <Application>Microsoft Office PowerPoint</Application>
  <PresentationFormat>Bildschirmpräsentation (4:3)</PresentationFormat>
  <Paragraphs>87</Paragraphs>
  <Slides>8</Slides>
  <Notes>7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Master - ConVista General </vt:lpstr>
      <vt:lpstr>Inhalt - Modellierung &amp; Produktdefinition</vt:lpstr>
      <vt:lpstr>Was kann plausibilisiert werden</vt:lpstr>
      <vt:lpstr>Aspekte einer Plausibilisierung</vt:lpstr>
      <vt:lpstr>Prüfungen in Faktor-IPS</vt:lpstr>
      <vt:lpstr>Faktor-IPS Generat von Regeln</vt:lpstr>
      <vt:lpstr>Faktor-IPS Regel Framework</vt:lpstr>
      <vt:lpstr>Auskunftsfunktionen in Faktor-IPS</vt:lpstr>
      <vt:lpstr>Übung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592</cp:revision>
  <cp:lastPrinted>2012-07-27T08:00:17Z</cp:lastPrinted>
  <dcterms:created xsi:type="dcterms:W3CDTF">2005-03-22T09:36:15Z</dcterms:created>
  <dcterms:modified xsi:type="dcterms:W3CDTF">2012-11-15T17:41:26Z</dcterms:modified>
  <cp:category>Master</cp:category>
  <cp:contentStatus>RELEASED</cp:contentStatus>
</cp:coreProperties>
</file>